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1" r:id="rId1"/>
  </p:sldMasterIdLst>
  <p:notesMasterIdLst>
    <p:notesMasterId r:id="rId7"/>
  </p:notesMasterIdLst>
  <p:sldIdLst>
    <p:sldId id="256" r:id="rId2"/>
    <p:sldId id="441" r:id="rId3"/>
    <p:sldId id="456" r:id="rId4"/>
    <p:sldId id="455" r:id="rId5"/>
    <p:sldId id="279" r:id="rId6"/>
  </p:sldIdLst>
  <p:sldSz cx="12192000" cy="6858000"/>
  <p:notesSz cx="12192000" cy="6858000"/>
  <p:embeddedFontLs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Open Sans" panose="020B0606030504020204" pitchFamily="34" charset="0"/>
      <p:regular r:id="rId12"/>
      <p:bold r:id="rId13"/>
      <p:italic r:id="rId14"/>
      <p:boldItalic r:id="rId15"/>
    </p:embeddedFont>
    <p:embeddedFont>
      <p:font typeface="Roboto Condensed" pitchFamily="2" charset="0"/>
      <p:regular r:id="rId16"/>
      <p:bold r:id="rId17"/>
      <p:italic r:id="rId18"/>
      <p:boldItalic r:id="rId19"/>
    </p:embeddedFont>
    <p:embeddedFont>
      <p:font typeface="Verdana" panose="020B0604030504040204" pitchFamily="34" charset="0"/>
      <p:regular r:id="rId20"/>
      <p:bold r:id="rId21"/>
      <p:italic r:id="rId22"/>
      <p:boldItalic r:id="rId2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448">
          <p15:clr>
            <a:srgbClr val="000000"/>
          </p15:clr>
        </p15:guide>
        <p15:guide id="2" pos="2112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72D2FFD-346D-4E55-B060-4D0E73AA9CCF}">
  <a:tblStyle styleId="{672D2FFD-346D-4E55-B060-4D0E73AA9C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D8C92B1-A8ED-4234-BCA0-5FC84BF68AEB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72"/>
      </p:cViewPr>
      <p:guideLst>
        <p:guide orient="horz" pos="2448"/>
        <p:guide pos="21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14.fntdata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23" Type="http://schemas.openxmlformats.org/officeDocument/2006/relationships/font" Target="fonts/font16.fntdata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font" Target="fonts/font15.fntdata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6905625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6" name="Google Shape;1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Google Shape;399;g111ea9a4fe7_3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0" name="Google Shape;400;g111ea9a4fe7_3_9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1" name="Google Shape;401;g111ea9a4fe7_3_9:notes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300" cy="3444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/>
              <a:t>5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>
            <a:spLocks noGrp="1"/>
          </p:cNvSpPr>
          <p:nvPr>
            <p:ph type="pic" idx="2"/>
          </p:nvPr>
        </p:nvSpPr>
        <p:spPr>
          <a:xfrm>
            <a:off x="685800" y="1704201"/>
            <a:ext cx="5029200" cy="3657600"/>
          </a:xfrm>
          <a:prstGeom prst="rect">
            <a:avLst/>
          </a:prstGeom>
          <a:noFill/>
          <a:ln>
            <a:noFill/>
          </a:ln>
        </p:spPr>
      </p:sp>
      <p:sp>
        <p:nvSpPr>
          <p:cNvPr id="22" name="Google Shape;22;p2"/>
          <p:cNvSpPr>
            <a:spLocks noGrp="1"/>
          </p:cNvSpPr>
          <p:nvPr>
            <p:ph type="pic" idx="3"/>
          </p:nvPr>
        </p:nvSpPr>
        <p:spPr>
          <a:xfrm>
            <a:off x="6705600" y="1704200"/>
            <a:ext cx="4876800" cy="3657599"/>
          </a:xfrm>
          <a:prstGeom prst="rect">
            <a:avLst/>
          </a:prstGeom>
          <a:noFill/>
          <a:ln>
            <a:noFill/>
          </a:ln>
        </p:spPr>
      </p:sp>
      <p:sp>
        <p:nvSpPr>
          <p:cNvPr id="23" name="Google Shape;23;p2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blem Layout">
  <p:cSld name="Problem Layout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11"/>
          <p:cNvSpPr/>
          <p:nvPr/>
        </p:nvSpPr>
        <p:spPr>
          <a:xfrm>
            <a:off x="6266646" y="1233488"/>
            <a:ext cx="5308037" cy="463389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2" name="Google Shape;142;p11"/>
          <p:cNvSpPr txBox="1">
            <a:spLocks noGrp="1"/>
          </p:cNvSpPr>
          <p:nvPr>
            <p:ph type="body" idx="1"/>
          </p:nvPr>
        </p:nvSpPr>
        <p:spPr>
          <a:xfrm>
            <a:off x="6521184" y="1596386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11"/>
          <p:cNvSpPr/>
          <p:nvPr/>
        </p:nvSpPr>
        <p:spPr>
          <a:xfrm>
            <a:off x="641350" y="1233489"/>
            <a:ext cx="5308037" cy="4633911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4" name="Google Shape;144;p11"/>
          <p:cNvSpPr txBox="1">
            <a:spLocks noGrp="1"/>
          </p:cNvSpPr>
          <p:nvPr>
            <p:ph type="body" idx="2"/>
          </p:nvPr>
        </p:nvSpPr>
        <p:spPr>
          <a:xfrm>
            <a:off x="879321" y="1581720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46" name="Google Shape;146;p11"/>
          <p:cNvCxnSpPr/>
          <p:nvPr/>
        </p:nvCxnSpPr>
        <p:spPr>
          <a:xfrm>
            <a:off x="641350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F05F87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47" name="Google Shape;147;p11"/>
          <p:cNvCxnSpPr/>
          <p:nvPr/>
        </p:nvCxnSpPr>
        <p:spPr>
          <a:xfrm>
            <a:off x="6264683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49547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8" name="Google Shape;148;p11"/>
          <p:cNvSpPr>
            <a:spLocks noGrp="1"/>
          </p:cNvSpPr>
          <p:nvPr>
            <p:ph type="pic" idx="3"/>
          </p:nvPr>
        </p:nvSpPr>
        <p:spPr>
          <a:xfrm>
            <a:off x="6266645" y="2767525"/>
            <a:ext cx="5308038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49" name="Google Shape;149;p11"/>
          <p:cNvSpPr>
            <a:spLocks noGrp="1"/>
          </p:cNvSpPr>
          <p:nvPr>
            <p:ph type="pic" idx="4"/>
          </p:nvPr>
        </p:nvSpPr>
        <p:spPr>
          <a:xfrm>
            <a:off x="648553" y="2766349"/>
            <a:ext cx="5300833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50" name="Google Shape;150;p11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1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statement header">
  <p:cSld name="Big statement header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Google Shape;153;p12"/>
          <p:cNvGrpSpPr/>
          <p:nvPr/>
        </p:nvGrpSpPr>
        <p:grpSpPr>
          <a:xfrm>
            <a:off x="0" y="1215709"/>
            <a:ext cx="12192000" cy="951749"/>
            <a:chOff x="0" y="5667469"/>
            <a:chExt cx="12192000" cy="820415"/>
          </a:xfrm>
        </p:grpSpPr>
        <p:sp>
          <p:nvSpPr>
            <p:cNvPr id="154" name="Google Shape;154;p12"/>
            <p:cNvSpPr/>
            <p:nvPr/>
          </p:nvSpPr>
          <p:spPr>
            <a:xfrm>
              <a:off x="0" y="5667469"/>
              <a:ext cx="12192000" cy="820415"/>
            </a:xfrm>
            <a:prstGeom prst="rect">
              <a:avLst/>
            </a:prstGeom>
            <a:solidFill>
              <a:schemeClr val="accent1">
                <a:alpha val="35294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5" name="Google Shape;155;p12"/>
            <p:cNvSpPr/>
            <p:nvPr/>
          </p:nvSpPr>
          <p:spPr>
            <a:xfrm>
              <a:off x="0" y="5723297"/>
              <a:ext cx="12192000" cy="708759"/>
            </a:xfrm>
            <a:prstGeom prst="rect">
              <a:avLst/>
            </a:prstGeom>
            <a:solidFill>
              <a:srgbClr val="4A557D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6" name="Google Shape;156;p12"/>
            <p:cNvSpPr/>
            <p:nvPr/>
          </p:nvSpPr>
          <p:spPr>
            <a:xfrm>
              <a:off x="1785421" y="5878696"/>
              <a:ext cx="8621160" cy="3979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7" name="Google Shape;157;p12"/>
          <p:cNvSpPr txBox="1">
            <a:spLocks noGrp="1"/>
          </p:cNvSpPr>
          <p:nvPr>
            <p:ph type="body" idx="1"/>
          </p:nvPr>
        </p:nvSpPr>
        <p:spPr>
          <a:xfrm>
            <a:off x="3962400" y="1523395"/>
            <a:ext cx="39624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1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12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p12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10800000" flipH="1">
            <a:off x="0" y="1280474"/>
            <a:ext cx="2759700" cy="1224507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12"/>
          <p:cNvSpPr>
            <a:spLocks noGrp="1"/>
          </p:cNvSpPr>
          <p:nvPr>
            <p:ph type="pic" idx="2"/>
          </p:nvPr>
        </p:nvSpPr>
        <p:spPr>
          <a:xfrm>
            <a:off x="5562600" y="2347735"/>
            <a:ext cx="6002882" cy="3519665"/>
          </a:xfrm>
          <a:prstGeom prst="rect">
            <a:avLst/>
          </a:prstGeom>
          <a:noFill/>
          <a:ln>
            <a:noFill/>
          </a:ln>
        </p:spPr>
      </p:sp>
      <p:sp>
        <p:nvSpPr>
          <p:cNvPr id="162" name="Google Shape;162;p12"/>
          <p:cNvSpPr txBox="1">
            <a:spLocks noGrp="1"/>
          </p:cNvSpPr>
          <p:nvPr>
            <p:ph type="body" idx="3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12"/>
          <p:cNvSpPr txBox="1">
            <a:spLocks noGrp="1"/>
          </p:cNvSpPr>
          <p:nvPr>
            <p:ph type="body" idx="4"/>
          </p:nvPr>
        </p:nvSpPr>
        <p:spPr>
          <a:xfrm>
            <a:off x="609600" y="2362200"/>
            <a:ext cx="4663440" cy="35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rds with Charts">
  <p:cSld name="Cards with Char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13"/>
          <p:cNvSpPr/>
          <p:nvPr/>
        </p:nvSpPr>
        <p:spPr>
          <a:xfrm>
            <a:off x="6118942" y="1291855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7" name="Google Shape;167;p13"/>
          <p:cNvSpPr/>
          <p:nvPr/>
        </p:nvSpPr>
        <p:spPr>
          <a:xfrm>
            <a:off x="6121963" y="1274846"/>
            <a:ext cx="5308037" cy="1038792"/>
          </a:xfrm>
          <a:prstGeom prst="rect">
            <a:avLst/>
          </a:prstGeom>
          <a:solidFill>
            <a:srgbClr val="F5BE2E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8" name="Google Shape;168;p13"/>
          <p:cNvSpPr txBox="1">
            <a:spLocks noGrp="1"/>
          </p:cNvSpPr>
          <p:nvPr>
            <p:ph type="body" idx="1"/>
          </p:nvPr>
        </p:nvSpPr>
        <p:spPr>
          <a:xfrm>
            <a:off x="6400800" y="1671131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1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13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1" name="Google Shape;171;p13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13"/>
          <p:cNvSpPr/>
          <p:nvPr/>
        </p:nvSpPr>
        <p:spPr>
          <a:xfrm>
            <a:off x="641350" y="1233488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3" name="Google Shape;173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8265196" y="821882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p13"/>
          <p:cNvSpPr/>
          <p:nvPr/>
        </p:nvSpPr>
        <p:spPr>
          <a:xfrm>
            <a:off x="648554" y="1214229"/>
            <a:ext cx="5308037" cy="1038792"/>
          </a:xfrm>
          <a:prstGeom prst="rect">
            <a:avLst/>
          </a:prstGeom>
          <a:solidFill>
            <a:srgbClr val="4A557D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5" name="Google Shape;175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2615193" y="1004599"/>
            <a:ext cx="3412662" cy="1514234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1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13"/>
          <p:cNvSpPr txBox="1">
            <a:spLocks noGrp="1"/>
          </p:cNvSpPr>
          <p:nvPr>
            <p:ph type="body" idx="3"/>
          </p:nvPr>
        </p:nvSpPr>
        <p:spPr>
          <a:xfrm>
            <a:off x="914400" y="1600200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13"/>
          <p:cNvSpPr>
            <a:spLocks noGrp="1"/>
          </p:cNvSpPr>
          <p:nvPr>
            <p:ph type="chart" idx="4"/>
          </p:nvPr>
        </p:nvSpPr>
        <p:spPr>
          <a:xfrm>
            <a:off x="144780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79" name="Google Shape;179;p13"/>
          <p:cNvSpPr>
            <a:spLocks noGrp="1"/>
          </p:cNvSpPr>
          <p:nvPr>
            <p:ph type="chart" idx="5"/>
          </p:nvPr>
        </p:nvSpPr>
        <p:spPr>
          <a:xfrm>
            <a:off x="686796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80" name="Google Shape;180;p1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415" y="1145391"/>
            <a:ext cx="11543169" cy="109414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6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256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 txBox="1">
            <a:spLocks noGrp="1"/>
          </p:cNvSpPr>
          <p:nvPr>
            <p:ph type="body" idx="1"/>
          </p:nvPr>
        </p:nvSpPr>
        <p:spPr>
          <a:xfrm>
            <a:off x="609600" y="1449704"/>
            <a:ext cx="1092676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images layout">
  <p:cSld name="four images layou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"/>
          <p:cNvSpPr txBox="1">
            <a:spLocks noGrp="1"/>
          </p:cNvSpPr>
          <p:nvPr>
            <p:ph type="title"/>
          </p:nvPr>
        </p:nvSpPr>
        <p:spPr>
          <a:xfrm>
            <a:off x="605692" y="45720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"/>
          <p:cNvSpPr>
            <a:spLocks noGrp="1"/>
          </p:cNvSpPr>
          <p:nvPr>
            <p:ph type="pic" idx="2"/>
          </p:nvPr>
        </p:nvSpPr>
        <p:spPr>
          <a:xfrm>
            <a:off x="1447800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4" name="Google Shape;34;p4"/>
          <p:cNvSpPr>
            <a:spLocks noGrp="1"/>
          </p:cNvSpPr>
          <p:nvPr>
            <p:ph type="pic" idx="3"/>
          </p:nvPr>
        </p:nvSpPr>
        <p:spPr>
          <a:xfrm>
            <a:off x="3733800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5" name="Google Shape;35;p4"/>
          <p:cNvSpPr>
            <a:spLocks noGrp="1"/>
          </p:cNvSpPr>
          <p:nvPr>
            <p:ph type="pic" idx="4"/>
          </p:nvPr>
        </p:nvSpPr>
        <p:spPr>
          <a:xfrm>
            <a:off x="5967412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6" name="Google Shape;36;p4"/>
          <p:cNvSpPr>
            <a:spLocks noGrp="1"/>
          </p:cNvSpPr>
          <p:nvPr>
            <p:ph type="pic" idx="5"/>
          </p:nvPr>
        </p:nvSpPr>
        <p:spPr>
          <a:xfrm>
            <a:off x="8253412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7" name="Google Shape;37;p4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work">
  <p:cSld name="Our work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5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5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ighlight section">
  <p:cSld name="Highlight sec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"/>
          <p:cNvSpPr>
            <a:spLocks noGrp="1"/>
          </p:cNvSpPr>
          <p:nvPr>
            <p:ph type="pic" idx="2"/>
          </p:nvPr>
        </p:nvSpPr>
        <p:spPr>
          <a:xfrm>
            <a:off x="611616" y="1333500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44" name="Google Shape;44;p6"/>
          <p:cNvSpPr txBox="1">
            <a:spLocks noGrp="1"/>
          </p:cNvSpPr>
          <p:nvPr>
            <p:ph type="body" idx="1"/>
          </p:nvPr>
        </p:nvSpPr>
        <p:spPr>
          <a:xfrm>
            <a:off x="664370" y="4506176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body" idx="3"/>
          </p:nvPr>
        </p:nvSpPr>
        <p:spPr>
          <a:xfrm>
            <a:off x="664371" y="1775497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6"/>
          <p:cNvSpPr txBox="1">
            <a:spLocks noGrp="1"/>
          </p:cNvSpPr>
          <p:nvPr>
            <p:ph type="body" idx="4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6"/>
          <p:cNvSpPr>
            <a:spLocks noGrp="1"/>
          </p:cNvSpPr>
          <p:nvPr>
            <p:ph type="pic" idx="5"/>
          </p:nvPr>
        </p:nvSpPr>
        <p:spPr>
          <a:xfrm>
            <a:off x="5867400" y="1189699"/>
            <a:ext cx="5667936" cy="4601501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6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6"/>
          <p:cNvSpPr txBox="1">
            <a:spLocks noGrp="1"/>
          </p:cNvSpPr>
          <p:nvPr>
            <p:ph type="body" idx="6"/>
          </p:nvPr>
        </p:nvSpPr>
        <p:spPr>
          <a:xfrm>
            <a:off x="677030" y="2235017"/>
            <a:ext cx="5050629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6"/>
          <p:cNvSpPr txBox="1">
            <a:spLocks noGrp="1"/>
          </p:cNvSpPr>
          <p:nvPr>
            <p:ph type="body" idx="7"/>
          </p:nvPr>
        </p:nvSpPr>
        <p:spPr>
          <a:xfrm>
            <a:off x="680938" y="4987409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6"/>
          <p:cNvSpPr>
            <a:spLocks noGrp="1"/>
          </p:cNvSpPr>
          <p:nvPr>
            <p:ph type="pic" idx="8"/>
          </p:nvPr>
        </p:nvSpPr>
        <p:spPr>
          <a:xfrm>
            <a:off x="609600" y="4041775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53" name="Google Shape;53;p6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F05F87"/>
                </a:solidFill>
              </a:defRPr>
            </a:lvl1pPr>
            <a:lvl2pPr lvl="1">
              <a:buNone/>
              <a:defRPr>
                <a:solidFill>
                  <a:srgbClr val="F05F87"/>
                </a:solidFill>
              </a:defRPr>
            </a:lvl2pPr>
            <a:lvl3pPr lvl="2">
              <a:buNone/>
              <a:defRPr>
                <a:solidFill>
                  <a:srgbClr val="F05F87"/>
                </a:solidFill>
              </a:defRPr>
            </a:lvl3pPr>
            <a:lvl4pPr lvl="3">
              <a:buNone/>
              <a:defRPr>
                <a:solidFill>
                  <a:srgbClr val="F05F87"/>
                </a:solidFill>
              </a:defRPr>
            </a:lvl4pPr>
            <a:lvl5pPr lvl="4">
              <a:buNone/>
              <a:defRPr>
                <a:solidFill>
                  <a:srgbClr val="F05F87"/>
                </a:solidFill>
              </a:defRPr>
            </a:lvl5pPr>
            <a:lvl6pPr lvl="5">
              <a:buNone/>
              <a:defRPr>
                <a:solidFill>
                  <a:srgbClr val="F05F87"/>
                </a:solidFill>
              </a:defRPr>
            </a:lvl6pPr>
            <a:lvl7pPr lvl="6">
              <a:buNone/>
              <a:defRPr>
                <a:solidFill>
                  <a:srgbClr val="F05F87"/>
                </a:solidFill>
              </a:defRPr>
            </a:lvl7pPr>
            <a:lvl8pPr lvl="7">
              <a:buNone/>
              <a:defRPr>
                <a:solidFill>
                  <a:srgbClr val="F05F87"/>
                </a:solidFill>
              </a:defRPr>
            </a:lvl8pPr>
            <a:lvl9pPr lvl="8">
              <a:buNone/>
              <a:defRPr>
                <a:solidFill>
                  <a:srgbClr val="F05F87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intro layout">
  <p:cSld name="The intro layou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7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7"/>
          <p:cNvSpPr>
            <a:spLocks noGrp="1"/>
          </p:cNvSpPr>
          <p:nvPr>
            <p:ph type="pic" idx="2"/>
          </p:nvPr>
        </p:nvSpPr>
        <p:spPr>
          <a:xfrm>
            <a:off x="5029200" y="1292225"/>
            <a:ext cx="6507163" cy="4498975"/>
          </a:xfrm>
          <a:prstGeom prst="rect">
            <a:avLst/>
          </a:prstGeom>
          <a:noFill/>
          <a:ln>
            <a:noFill/>
          </a:ln>
        </p:spPr>
      </p:sp>
      <p:sp>
        <p:nvSpPr>
          <p:cNvPr id="57" name="Google Shape;57;p7"/>
          <p:cNvSpPr/>
          <p:nvPr/>
        </p:nvSpPr>
        <p:spPr>
          <a:xfrm>
            <a:off x="609600" y="1292725"/>
            <a:ext cx="4103875" cy="5108075"/>
          </a:xfrm>
          <a:prstGeom prst="rect">
            <a:avLst/>
          </a:prstGeom>
          <a:solidFill>
            <a:srgbClr val="49547C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" name="Google Shape;58;p7"/>
          <p:cNvSpPr txBox="1">
            <a:spLocks noGrp="1"/>
          </p:cNvSpPr>
          <p:nvPr>
            <p:ph type="body" idx="3"/>
          </p:nvPr>
        </p:nvSpPr>
        <p:spPr>
          <a:xfrm>
            <a:off x="768350" y="1447800"/>
            <a:ext cx="380365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7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" name="Google Shape;60;p7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4307" y="4966320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7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8"/>
          <p:cNvSpPr/>
          <p:nvPr/>
        </p:nvSpPr>
        <p:spPr>
          <a:xfrm>
            <a:off x="8362188" y="1930907"/>
            <a:ext cx="544195" cy="471170"/>
          </a:xfrm>
          <a:custGeom>
            <a:avLst/>
            <a:gdLst/>
            <a:ahLst/>
            <a:cxnLst/>
            <a:rect l="l" t="t" r="r" b="b"/>
            <a:pathLst>
              <a:path w="544195" h="471169" extrusionOk="0">
                <a:moveTo>
                  <a:pt x="477011" y="67309"/>
                </a:moveTo>
                <a:lnTo>
                  <a:pt x="74548" y="67309"/>
                </a:lnTo>
                <a:lnTo>
                  <a:pt x="47148" y="73727"/>
                </a:lnTo>
                <a:lnTo>
                  <a:pt x="23272" y="90646"/>
                </a:lnTo>
                <a:lnTo>
                  <a:pt x="6397" y="114565"/>
                </a:lnTo>
                <a:lnTo>
                  <a:pt x="0" y="141986"/>
                </a:lnTo>
                <a:lnTo>
                  <a:pt x="0" y="396113"/>
                </a:lnTo>
                <a:lnTo>
                  <a:pt x="6397" y="423606"/>
                </a:lnTo>
                <a:lnTo>
                  <a:pt x="23272" y="447563"/>
                </a:lnTo>
                <a:lnTo>
                  <a:pt x="47148" y="464496"/>
                </a:lnTo>
                <a:lnTo>
                  <a:pt x="74548" y="470915"/>
                </a:lnTo>
                <a:lnTo>
                  <a:pt x="477011" y="470915"/>
                </a:lnTo>
                <a:lnTo>
                  <a:pt x="503187" y="464496"/>
                </a:lnTo>
                <a:lnTo>
                  <a:pt x="524494" y="447563"/>
                </a:lnTo>
                <a:lnTo>
                  <a:pt x="538823" y="423606"/>
                </a:lnTo>
                <a:lnTo>
                  <a:pt x="544067" y="396113"/>
                </a:lnTo>
                <a:lnTo>
                  <a:pt x="275716" y="396113"/>
                </a:lnTo>
                <a:lnTo>
                  <a:pt x="227643" y="386770"/>
                </a:lnTo>
                <a:lnTo>
                  <a:pt x="187261" y="360616"/>
                </a:lnTo>
                <a:lnTo>
                  <a:pt x="159452" y="320460"/>
                </a:lnTo>
                <a:lnTo>
                  <a:pt x="149097" y="269113"/>
                </a:lnTo>
                <a:lnTo>
                  <a:pt x="159452" y="220853"/>
                </a:lnTo>
                <a:lnTo>
                  <a:pt x="187261" y="180308"/>
                </a:lnTo>
                <a:lnTo>
                  <a:pt x="227643" y="152384"/>
                </a:lnTo>
                <a:lnTo>
                  <a:pt x="275716" y="141986"/>
                </a:lnTo>
                <a:lnTo>
                  <a:pt x="544067" y="141986"/>
                </a:lnTo>
                <a:lnTo>
                  <a:pt x="538823" y="114565"/>
                </a:lnTo>
                <a:lnTo>
                  <a:pt x="524494" y="90646"/>
                </a:lnTo>
                <a:lnTo>
                  <a:pt x="503187" y="73727"/>
                </a:lnTo>
                <a:lnTo>
                  <a:pt x="477011" y="67309"/>
                </a:lnTo>
                <a:close/>
              </a:path>
              <a:path w="544195" h="471169" extrusionOk="0">
                <a:moveTo>
                  <a:pt x="544067" y="141986"/>
                </a:moveTo>
                <a:lnTo>
                  <a:pt x="275716" y="141986"/>
                </a:lnTo>
                <a:lnTo>
                  <a:pt x="323863" y="152384"/>
                </a:lnTo>
                <a:lnTo>
                  <a:pt x="364283" y="180308"/>
                </a:lnTo>
                <a:lnTo>
                  <a:pt x="392106" y="220853"/>
                </a:lnTo>
                <a:lnTo>
                  <a:pt x="402462" y="269113"/>
                </a:lnTo>
                <a:lnTo>
                  <a:pt x="392106" y="320460"/>
                </a:lnTo>
                <a:lnTo>
                  <a:pt x="364283" y="360616"/>
                </a:lnTo>
                <a:lnTo>
                  <a:pt x="323863" y="386770"/>
                </a:lnTo>
                <a:lnTo>
                  <a:pt x="275716" y="396113"/>
                </a:lnTo>
                <a:lnTo>
                  <a:pt x="544067" y="396113"/>
                </a:lnTo>
                <a:lnTo>
                  <a:pt x="544067" y="141986"/>
                </a:lnTo>
                <a:close/>
              </a:path>
              <a:path w="544195" h="471169" extrusionOk="0">
                <a:moveTo>
                  <a:pt x="275716" y="186816"/>
                </a:moveTo>
                <a:lnTo>
                  <a:pt x="244058" y="193371"/>
                </a:lnTo>
                <a:lnTo>
                  <a:pt x="217995" y="211153"/>
                </a:lnTo>
                <a:lnTo>
                  <a:pt x="200314" y="237341"/>
                </a:lnTo>
                <a:lnTo>
                  <a:pt x="193801" y="269113"/>
                </a:lnTo>
                <a:lnTo>
                  <a:pt x="200314" y="300864"/>
                </a:lnTo>
                <a:lnTo>
                  <a:pt x="217995" y="327009"/>
                </a:lnTo>
                <a:lnTo>
                  <a:pt x="244058" y="344747"/>
                </a:lnTo>
                <a:lnTo>
                  <a:pt x="275716" y="351281"/>
                </a:lnTo>
                <a:lnTo>
                  <a:pt x="307395" y="344747"/>
                </a:lnTo>
                <a:lnTo>
                  <a:pt x="333501" y="327009"/>
                </a:lnTo>
                <a:lnTo>
                  <a:pt x="351226" y="300864"/>
                </a:lnTo>
                <a:lnTo>
                  <a:pt x="357758" y="269113"/>
                </a:lnTo>
                <a:lnTo>
                  <a:pt x="351226" y="237341"/>
                </a:lnTo>
                <a:lnTo>
                  <a:pt x="333501" y="211153"/>
                </a:lnTo>
                <a:lnTo>
                  <a:pt x="307395" y="193371"/>
                </a:lnTo>
                <a:lnTo>
                  <a:pt x="275716" y="186816"/>
                </a:lnTo>
                <a:close/>
              </a:path>
              <a:path w="544195" h="471169" extrusionOk="0">
                <a:moveTo>
                  <a:pt x="350265" y="0"/>
                </a:moveTo>
                <a:lnTo>
                  <a:pt x="201167" y="0"/>
                </a:lnTo>
                <a:lnTo>
                  <a:pt x="188968" y="2573"/>
                </a:lnTo>
                <a:lnTo>
                  <a:pt x="176053" y="9350"/>
                </a:lnTo>
                <a:lnTo>
                  <a:pt x="164520" y="18913"/>
                </a:lnTo>
                <a:lnTo>
                  <a:pt x="156463" y="29844"/>
                </a:lnTo>
                <a:lnTo>
                  <a:pt x="141604" y="67309"/>
                </a:lnTo>
                <a:lnTo>
                  <a:pt x="409955" y="67309"/>
                </a:lnTo>
                <a:lnTo>
                  <a:pt x="394969" y="29844"/>
                </a:lnTo>
                <a:lnTo>
                  <a:pt x="362537" y="2573"/>
                </a:lnTo>
                <a:lnTo>
                  <a:pt x="35026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5" name="Google Shape;65;p8"/>
          <p:cNvSpPr/>
          <p:nvPr/>
        </p:nvSpPr>
        <p:spPr>
          <a:xfrm>
            <a:off x="9963911" y="3695700"/>
            <a:ext cx="576580" cy="306705"/>
          </a:xfrm>
          <a:custGeom>
            <a:avLst/>
            <a:gdLst/>
            <a:ahLst/>
            <a:cxnLst/>
            <a:rect l="l" t="t" r="r" b="b"/>
            <a:pathLst>
              <a:path w="576579" h="306704" extrusionOk="0">
                <a:moveTo>
                  <a:pt x="418211" y="0"/>
                </a:moveTo>
                <a:lnTo>
                  <a:pt x="149987" y="0"/>
                </a:lnTo>
                <a:lnTo>
                  <a:pt x="101031" y="8047"/>
                </a:lnTo>
                <a:lnTo>
                  <a:pt x="59664" y="30427"/>
                </a:lnTo>
                <a:lnTo>
                  <a:pt x="27777" y="64492"/>
                </a:lnTo>
                <a:lnTo>
                  <a:pt x="7259" y="107598"/>
                </a:lnTo>
                <a:lnTo>
                  <a:pt x="0" y="157099"/>
                </a:lnTo>
                <a:lnTo>
                  <a:pt x="7259" y="202757"/>
                </a:lnTo>
                <a:lnTo>
                  <a:pt x="27777" y="243532"/>
                </a:lnTo>
                <a:lnTo>
                  <a:pt x="59664" y="276400"/>
                </a:lnTo>
                <a:lnTo>
                  <a:pt x="101031" y="298339"/>
                </a:lnTo>
                <a:lnTo>
                  <a:pt x="149987" y="306324"/>
                </a:lnTo>
                <a:lnTo>
                  <a:pt x="179288" y="303496"/>
                </a:lnTo>
                <a:lnTo>
                  <a:pt x="207137" y="295513"/>
                </a:lnTo>
                <a:lnTo>
                  <a:pt x="232032" y="283124"/>
                </a:lnTo>
                <a:lnTo>
                  <a:pt x="252476" y="267081"/>
                </a:lnTo>
                <a:lnTo>
                  <a:pt x="521007" y="267081"/>
                </a:lnTo>
                <a:lnTo>
                  <a:pt x="537401" y="251332"/>
                </a:lnTo>
                <a:lnTo>
                  <a:pt x="126238" y="251332"/>
                </a:lnTo>
                <a:lnTo>
                  <a:pt x="126238" y="180594"/>
                </a:lnTo>
                <a:lnTo>
                  <a:pt x="55245" y="180594"/>
                </a:lnTo>
                <a:lnTo>
                  <a:pt x="55245" y="125730"/>
                </a:lnTo>
                <a:lnTo>
                  <a:pt x="126238" y="125730"/>
                </a:lnTo>
                <a:lnTo>
                  <a:pt x="126238" y="54991"/>
                </a:lnTo>
                <a:lnTo>
                  <a:pt x="535978" y="54991"/>
                </a:lnTo>
                <a:lnTo>
                  <a:pt x="511305" y="30427"/>
                </a:lnTo>
                <a:lnTo>
                  <a:pt x="467985" y="8047"/>
                </a:lnTo>
                <a:lnTo>
                  <a:pt x="418211" y="0"/>
                </a:lnTo>
                <a:close/>
              </a:path>
              <a:path w="576579" h="306704" extrusionOk="0">
                <a:moveTo>
                  <a:pt x="521007" y="267081"/>
                </a:moveTo>
                <a:lnTo>
                  <a:pt x="315595" y="267081"/>
                </a:lnTo>
                <a:lnTo>
                  <a:pt x="339433" y="283124"/>
                </a:lnTo>
                <a:lnTo>
                  <a:pt x="363997" y="295513"/>
                </a:lnTo>
                <a:lnTo>
                  <a:pt x="390015" y="303496"/>
                </a:lnTo>
                <a:lnTo>
                  <a:pt x="418211" y="306324"/>
                </a:lnTo>
                <a:lnTo>
                  <a:pt x="467985" y="298339"/>
                </a:lnTo>
                <a:lnTo>
                  <a:pt x="511305" y="276400"/>
                </a:lnTo>
                <a:lnTo>
                  <a:pt x="521007" y="267081"/>
                </a:lnTo>
                <a:close/>
              </a:path>
              <a:path w="576579" h="306704" extrusionOk="0">
                <a:moveTo>
                  <a:pt x="535978" y="54991"/>
                </a:moveTo>
                <a:lnTo>
                  <a:pt x="173609" y="54991"/>
                </a:lnTo>
                <a:lnTo>
                  <a:pt x="181483" y="62864"/>
                </a:lnTo>
                <a:lnTo>
                  <a:pt x="181483" y="125730"/>
                </a:lnTo>
                <a:lnTo>
                  <a:pt x="244602" y="125730"/>
                </a:lnTo>
                <a:lnTo>
                  <a:pt x="244602" y="180594"/>
                </a:lnTo>
                <a:lnTo>
                  <a:pt x="181483" y="180594"/>
                </a:lnTo>
                <a:lnTo>
                  <a:pt x="181409" y="243532"/>
                </a:lnTo>
                <a:lnTo>
                  <a:pt x="173609" y="251332"/>
                </a:lnTo>
                <a:lnTo>
                  <a:pt x="537401" y="251332"/>
                </a:lnTo>
                <a:lnTo>
                  <a:pt x="545522" y="243532"/>
                </a:lnTo>
                <a:lnTo>
                  <a:pt x="554171" y="227837"/>
                </a:lnTo>
                <a:lnTo>
                  <a:pt x="378841" y="227837"/>
                </a:lnTo>
                <a:lnTo>
                  <a:pt x="365972" y="225008"/>
                </a:lnTo>
                <a:lnTo>
                  <a:pt x="353139" y="217011"/>
                </a:lnTo>
                <a:lnTo>
                  <a:pt x="343282" y="204585"/>
                </a:lnTo>
                <a:lnTo>
                  <a:pt x="339344" y="188468"/>
                </a:lnTo>
                <a:lnTo>
                  <a:pt x="343282" y="176976"/>
                </a:lnTo>
                <a:lnTo>
                  <a:pt x="353139" y="166925"/>
                </a:lnTo>
                <a:lnTo>
                  <a:pt x="365972" y="159803"/>
                </a:lnTo>
                <a:lnTo>
                  <a:pt x="378841" y="157099"/>
                </a:lnTo>
                <a:lnTo>
                  <a:pt x="457708" y="157099"/>
                </a:lnTo>
                <a:lnTo>
                  <a:pt x="441571" y="153163"/>
                </a:lnTo>
                <a:lnTo>
                  <a:pt x="429101" y="143335"/>
                </a:lnTo>
                <a:lnTo>
                  <a:pt x="421060" y="130577"/>
                </a:lnTo>
                <a:lnTo>
                  <a:pt x="418211" y="117856"/>
                </a:lnTo>
                <a:lnTo>
                  <a:pt x="421060" y="101738"/>
                </a:lnTo>
                <a:lnTo>
                  <a:pt x="429101" y="89312"/>
                </a:lnTo>
                <a:lnTo>
                  <a:pt x="441571" y="81315"/>
                </a:lnTo>
                <a:lnTo>
                  <a:pt x="457708" y="78486"/>
                </a:lnTo>
                <a:lnTo>
                  <a:pt x="552817" y="78486"/>
                </a:lnTo>
                <a:lnTo>
                  <a:pt x="545522" y="64492"/>
                </a:lnTo>
                <a:lnTo>
                  <a:pt x="535978" y="54991"/>
                </a:lnTo>
                <a:close/>
              </a:path>
              <a:path w="576579" h="306704" extrusionOk="0">
                <a:moveTo>
                  <a:pt x="552817" y="78486"/>
                </a:moveTo>
                <a:lnTo>
                  <a:pt x="457708" y="78486"/>
                </a:lnTo>
                <a:lnTo>
                  <a:pt x="473844" y="81315"/>
                </a:lnTo>
                <a:lnTo>
                  <a:pt x="486314" y="89312"/>
                </a:lnTo>
                <a:lnTo>
                  <a:pt x="494355" y="101738"/>
                </a:lnTo>
                <a:lnTo>
                  <a:pt x="497205" y="117856"/>
                </a:lnTo>
                <a:lnTo>
                  <a:pt x="494355" y="130577"/>
                </a:lnTo>
                <a:lnTo>
                  <a:pt x="486314" y="143335"/>
                </a:lnTo>
                <a:lnTo>
                  <a:pt x="473844" y="153163"/>
                </a:lnTo>
                <a:lnTo>
                  <a:pt x="457708" y="157099"/>
                </a:lnTo>
                <a:lnTo>
                  <a:pt x="378841" y="157099"/>
                </a:lnTo>
                <a:lnTo>
                  <a:pt x="394958" y="159803"/>
                </a:lnTo>
                <a:lnTo>
                  <a:pt x="407384" y="166925"/>
                </a:lnTo>
                <a:lnTo>
                  <a:pt x="415381" y="176976"/>
                </a:lnTo>
                <a:lnTo>
                  <a:pt x="418211" y="188468"/>
                </a:lnTo>
                <a:lnTo>
                  <a:pt x="415381" y="204585"/>
                </a:lnTo>
                <a:lnTo>
                  <a:pt x="407384" y="217011"/>
                </a:lnTo>
                <a:lnTo>
                  <a:pt x="394958" y="225008"/>
                </a:lnTo>
                <a:lnTo>
                  <a:pt x="378841" y="227837"/>
                </a:lnTo>
                <a:lnTo>
                  <a:pt x="554171" y="227837"/>
                </a:lnTo>
                <a:lnTo>
                  <a:pt x="567993" y="202757"/>
                </a:lnTo>
                <a:lnTo>
                  <a:pt x="576072" y="157099"/>
                </a:lnTo>
                <a:lnTo>
                  <a:pt x="567993" y="107598"/>
                </a:lnTo>
                <a:lnTo>
                  <a:pt x="552817" y="784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66" name="Google Shape;66;p8"/>
          <p:cNvGrpSpPr/>
          <p:nvPr/>
        </p:nvGrpSpPr>
        <p:grpSpPr>
          <a:xfrm>
            <a:off x="673954" y="1822459"/>
            <a:ext cx="544195" cy="3663941"/>
            <a:chOff x="673954" y="1600200"/>
            <a:chExt cx="544195" cy="3663941"/>
          </a:xfrm>
        </p:grpSpPr>
        <p:grpSp>
          <p:nvGrpSpPr>
            <p:cNvPr id="67" name="Google Shape;67;p8"/>
            <p:cNvGrpSpPr/>
            <p:nvPr/>
          </p:nvGrpSpPr>
          <p:grpSpPr>
            <a:xfrm>
              <a:off x="673954" y="1600200"/>
              <a:ext cx="544195" cy="563918"/>
              <a:chOff x="673954" y="1600200"/>
              <a:chExt cx="544195" cy="563918"/>
            </a:xfrm>
          </p:grpSpPr>
          <p:sp>
            <p:nvSpPr>
              <p:cNvPr id="68" name="Google Shape;68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9" name="Google Shape;69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0" name="Google Shape;70;p8"/>
            <p:cNvGrpSpPr/>
            <p:nvPr/>
          </p:nvGrpSpPr>
          <p:grpSpPr>
            <a:xfrm>
              <a:off x="673954" y="2633541"/>
              <a:ext cx="544195" cy="563918"/>
              <a:chOff x="673954" y="1600200"/>
              <a:chExt cx="544195" cy="563918"/>
            </a:xfrm>
          </p:grpSpPr>
          <p:sp>
            <p:nvSpPr>
              <p:cNvPr id="71" name="Google Shape;7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2" name="Google Shape;72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3" name="Google Shape;73;p8"/>
            <p:cNvGrpSpPr/>
            <p:nvPr/>
          </p:nvGrpSpPr>
          <p:grpSpPr>
            <a:xfrm>
              <a:off x="673954" y="3666882"/>
              <a:ext cx="544195" cy="563918"/>
              <a:chOff x="673954" y="1600200"/>
              <a:chExt cx="544195" cy="563918"/>
            </a:xfrm>
          </p:grpSpPr>
          <p:sp>
            <p:nvSpPr>
              <p:cNvPr id="74" name="Google Shape;7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5" name="Google Shape;75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6" name="Google Shape;76;p8"/>
            <p:cNvGrpSpPr/>
            <p:nvPr/>
          </p:nvGrpSpPr>
          <p:grpSpPr>
            <a:xfrm>
              <a:off x="673954" y="4700223"/>
              <a:ext cx="544195" cy="563918"/>
              <a:chOff x="673954" y="1600200"/>
              <a:chExt cx="544195" cy="563918"/>
            </a:xfrm>
          </p:grpSpPr>
          <p:sp>
            <p:nvSpPr>
              <p:cNvPr id="77" name="Google Shape;7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8" name="Google Shape;78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79" name="Google Shape;79;p8"/>
          <p:cNvGrpSpPr/>
          <p:nvPr/>
        </p:nvGrpSpPr>
        <p:grpSpPr>
          <a:xfrm>
            <a:off x="7580756" y="1822459"/>
            <a:ext cx="544195" cy="3663941"/>
            <a:chOff x="826354" y="1752600"/>
            <a:chExt cx="544195" cy="3663941"/>
          </a:xfrm>
        </p:grpSpPr>
        <p:grpSp>
          <p:nvGrpSpPr>
            <p:cNvPr id="80" name="Google Shape;80;p8"/>
            <p:cNvGrpSpPr/>
            <p:nvPr/>
          </p:nvGrpSpPr>
          <p:grpSpPr>
            <a:xfrm>
              <a:off x="826354" y="1752600"/>
              <a:ext cx="544195" cy="563918"/>
              <a:chOff x="673954" y="1600200"/>
              <a:chExt cx="544195" cy="563918"/>
            </a:xfrm>
          </p:grpSpPr>
          <p:sp>
            <p:nvSpPr>
              <p:cNvPr id="81" name="Google Shape;8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2" name="Google Shape;82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3" name="Google Shape;83;p8"/>
            <p:cNvGrpSpPr/>
            <p:nvPr/>
          </p:nvGrpSpPr>
          <p:grpSpPr>
            <a:xfrm>
              <a:off x="826354" y="2785941"/>
              <a:ext cx="544195" cy="563918"/>
              <a:chOff x="673954" y="1600200"/>
              <a:chExt cx="544195" cy="563918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5" name="Google Shape;85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6" name="Google Shape;86;p8"/>
            <p:cNvGrpSpPr/>
            <p:nvPr/>
          </p:nvGrpSpPr>
          <p:grpSpPr>
            <a:xfrm>
              <a:off x="826354" y="3819282"/>
              <a:ext cx="544195" cy="563918"/>
              <a:chOff x="673954" y="1600200"/>
              <a:chExt cx="544195" cy="563918"/>
            </a:xfrm>
          </p:grpSpPr>
          <p:sp>
            <p:nvSpPr>
              <p:cNvPr id="87" name="Google Shape;8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81C677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8" name="Google Shape;88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9" name="Google Shape;89;p8"/>
            <p:cNvGrpSpPr/>
            <p:nvPr/>
          </p:nvGrpSpPr>
          <p:grpSpPr>
            <a:xfrm>
              <a:off x="826354" y="4852623"/>
              <a:ext cx="544195" cy="563918"/>
              <a:chOff x="673954" y="1600200"/>
              <a:chExt cx="544195" cy="563918"/>
            </a:xfrm>
          </p:grpSpPr>
          <p:sp>
            <p:nvSpPr>
              <p:cNvPr id="90" name="Google Shape;90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91" name="Google Shape;91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2" name="Google Shape;92;p8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8"/>
          <p:cNvSpPr txBox="1">
            <a:spLocks noGrp="1"/>
          </p:cNvSpPr>
          <p:nvPr>
            <p:ph type="body" idx="2"/>
          </p:nvPr>
        </p:nvSpPr>
        <p:spPr>
          <a:xfrm>
            <a:off x="1571380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8"/>
          <p:cNvSpPr txBox="1">
            <a:spLocks noGrp="1"/>
          </p:cNvSpPr>
          <p:nvPr>
            <p:ph type="body" idx="3"/>
          </p:nvPr>
        </p:nvSpPr>
        <p:spPr>
          <a:xfrm>
            <a:off x="1571380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8"/>
          <p:cNvSpPr txBox="1">
            <a:spLocks noGrp="1"/>
          </p:cNvSpPr>
          <p:nvPr>
            <p:ph type="body" idx="4"/>
          </p:nvPr>
        </p:nvSpPr>
        <p:spPr>
          <a:xfrm>
            <a:off x="1571380" y="39681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8"/>
          <p:cNvSpPr txBox="1">
            <a:spLocks noGrp="1"/>
          </p:cNvSpPr>
          <p:nvPr>
            <p:ph type="body" idx="5"/>
          </p:nvPr>
        </p:nvSpPr>
        <p:spPr>
          <a:xfrm>
            <a:off x="1571380" y="498710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8"/>
          <p:cNvSpPr txBox="1">
            <a:spLocks noGrp="1"/>
          </p:cNvSpPr>
          <p:nvPr>
            <p:ph type="body" idx="6"/>
          </p:nvPr>
        </p:nvSpPr>
        <p:spPr>
          <a:xfrm>
            <a:off x="8606671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8"/>
          <p:cNvSpPr txBox="1">
            <a:spLocks noGrp="1"/>
          </p:cNvSpPr>
          <p:nvPr>
            <p:ph type="body" idx="7"/>
          </p:nvPr>
        </p:nvSpPr>
        <p:spPr>
          <a:xfrm>
            <a:off x="8634285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8"/>
          <p:cNvSpPr txBox="1">
            <a:spLocks noGrp="1"/>
          </p:cNvSpPr>
          <p:nvPr>
            <p:ph type="body" idx="8"/>
          </p:nvPr>
        </p:nvSpPr>
        <p:spPr>
          <a:xfrm>
            <a:off x="8606671" y="397065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8"/>
          <p:cNvSpPr txBox="1">
            <a:spLocks noGrp="1"/>
          </p:cNvSpPr>
          <p:nvPr>
            <p:ph type="body" idx="9"/>
          </p:nvPr>
        </p:nvSpPr>
        <p:spPr>
          <a:xfrm>
            <a:off x="8606671" y="5011066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comparison Layout">
  <p:cSld name="The comparison Layou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9"/>
          <p:cNvSpPr/>
          <p:nvPr/>
        </p:nvSpPr>
        <p:spPr>
          <a:xfrm>
            <a:off x="628296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4" name="Google Shape;104;p9"/>
          <p:cNvSpPr/>
          <p:nvPr/>
        </p:nvSpPr>
        <p:spPr>
          <a:xfrm>
            <a:off x="6253592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5" name="Google Shape;105;p9"/>
          <p:cNvSpPr/>
          <p:nvPr/>
        </p:nvSpPr>
        <p:spPr>
          <a:xfrm>
            <a:off x="6253592" y="1313273"/>
            <a:ext cx="5308037" cy="747711"/>
          </a:xfrm>
          <a:prstGeom prst="rect">
            <a:avLst/>
          </a:prstGeom>
          <a:solidFill>
            <a:srgbClr val="F05F87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6" name="Google Shape;106;p9"/>
          <p:cNvSpPr txBox="1">
            <a:spLocks noGrp="1"/>
          </p:cNvSpPr>
          <p:nvPr>
            <p:ph type="body" idx="1"/>
          </p:nvPr>
        </p:nvSpPr>
        <p:spPr>
          <a:xfrm>
            <a:off x="7543800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9"/>
          <p:cNvSpPr/>
          <p:nvPr/>
        </p:nvSpPr>
        <p:spPr>
          <a:xfrm>
            <a:off x="628296" y="1313273"/>
            <a:ext cx="5308037" cy="747711"/>
          </a:xfrm>
          <a:prstGeom prst="rect">
            <a:avLst/>
          </a:prstGeom>
          <a:solidFill>
            <a:srgbClr val="81C677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8" name="Google Shape;108;p9"/>
          <p:cNvSpPr txBox="1">
            <a:spLocks noGrp="1"/>
          </p:cNvSpPr>
          <p:nvPr>
            <p:ph type="body" idx="2"/>
          </p:nvPr>
        </p:nvSpPr>
        <p:spPr>
          <a:xfrm>
            <a:off x="2001915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9"/>
          <p:cNvSpPr txBox="1">
            <a:spLocks noGrp="1"/>
          </p:cNvSpPr>
          <p:nvPr>
            <p:ph type="body" idx="3"/>
          </p:nvPr>
        </p:nvSpPr>
        <p:spPr>
          <a:xfrm>
            <a:off x="628649" y="2057400"/>
            <a:ext cx="5307683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9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9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9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113;p9"/>
          <p:cNvSpPr>
            <a:spLocks noGrp="1"/>
          </p:cNvSpPr>
          <p:nvPr>
            <p:ph type="pic" idx="4"/>
          </p:nvPr>
        </p:nvSpPr>
        <p:spPr>
          <a:xfrm>
            <a:off x="6253592" y="2057400"/>
            <a:ext cx="5317136" cy="3810000"/>
          </a:xfrm>
          <a:prstGeom prst="rect">
            <a:avLst/>
          </a:prstGeom>
          <a:noFill/>
          <a:ln>
            <a:noFill/>
          </a:ln>
        </p:spPr>
      </p:sp>
      <p:sp>
        <p:nvSpPr>
          <p:cNvPr id="114" name="Google Shape;114;p9"/>
          <p:cNvSpPr/>
          <p:nvPr/>
        </p:nvSpPr>
        <p:spPr>
          <a:xfrm>
            <a:off x="767714" y="2173268"/>
            <a:ext cx="5029200" cy="325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165963" lvl="0" indent="0" algn="l" rtl="0">
              <a:lnSpc>
                <a:spcPct val="101099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5" name="Google Shape;115;p9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6" name="Google Shape;116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28296" y="1309893"/>
            <a:ext cx="1916544" cy="90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Google Shape;117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82655" y="1396006"/>
            <a:ext cx="1916544" cy="902775"/>
          </a:xfrm>
          <a:prstGeom prst="rect">
            <a:avLst/>
          </a:prstGeom>
          <a:noFill/>
          <a:ln>
            <a:noFill/>
          </a:ln>
        </p:spPr>
      </p:pic>
      <p:sp>
        <p:nvSpPr>
          <p:cNvPr id="118" name="Google Shape;118;p9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with Pointers">
  <p:cSld name="Layout with Pointers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0"/>
          <p:cNvSpPr txBox="1">
            <a:spLocks noGrp="1"/>
          </p:cNvSpPr>
          <p:nvPr>
            <p:ph type="body" idx="1"/>
          </p:nvPr>
        </p:nvSpPr>
        <p:spPr>
          <a:xfrm>
            <a:off x="1151577" y="1958014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0"/>
          <p:cNvSpPr txBox="1">
            <a:spLocks noGrp="1"/>
          </p:cNvSpPr>
          <p:nvPr>
            <p:ph type="body" idx="2"/>
          </p:nvPr>
        </p:nvSpPr>
        <p:spPr>
          <a:xfrm>
            <a:off x="1151577" y="345159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0"/>
          <p:cNvSpPr txBox="1">
            <a:spLocks noGrp="1"/>
          </p:cNvSpPr>
          <p:nvPr>
            <p:ph type="body" idx="3"/>
          </p:nvPr>
        </p:nvSpPr>
        <p:spPr>
          <a:xfrm>
            <a:off x="1143000" y="502920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0"/>
          <p:cNvSpPr txBox="1">
            <a:spLocks noGrp="1"/>
          </p:cNvSpPr>
          <p:nvPr>
            <p:ph type="body" idx="4"/>
          </p:nvPr>
        </p:nvSpPr>
        <p:spPr>
          <a:xfrm>
            <a:off x="2068513" y="3124200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1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10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10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7" name="Google Shape;127;p10"/>
          <p:cNvGrpSpPr/>
          <p:nvPr/>
        </p:nvGrpSpPr>
        <p:grpSpPr>
          <a:xfrm>
            <a:off x="1529380" y="1972267"/>
            <a:ext cx="267843" cy="267843"/>
            <a:chOff x="5127585" y="2129742"/>
            <a:chExt cx="324090" cy="324090"/>
          </a:xfrm>
        </p:grpSpPr>
        <p:sp>
          <p:nvSpPr>
            <p:cNvPr id="128" name="Google Shape;128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29" name="Google Shape;129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0" name="Google Shape;130;p10"/>
          <p:cNvGrpSpPr/>
          <p:nvPr/>
        </p:nvGrpSpPr>
        <p:grpSpPr>
          <a:xfrm>
            <a:off x="1529380" y="3444201"/>
            <a:ext cx="267843" cy="267843"/>
            <a:chOff x="5127585" y="2129742"/>
            <a:chExt cx="324090" cy="324090"/>
          </a:xfrm>
        </p:grpSpPr>
        <p:sp>
          <p:nvSpPr>
            <p:cNvPr id="131" name="Google Shape;131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2" name="Google Shape;132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3" name="Google Shape;133;p10"/>
          <p:cNvGrpSpPr/>
          <p:nvPr/>
        </p:nvGrpSpPr>
        <p:grpSpPr>
          <a:xfrm>
            <a:off x="1529380" y="5046207"/>
            <a:ext cx="267843" cy="267843"/>
            <a:chOff x="5127585" y="2129742"/>
            <a:chExt cx="324090" cy="324090"/>
          </a:xfrm>
        </p:grpSpPr>
        <p:sp>
          <p:nvSpPr>
            <p:cNvPr id="134" name="Google Shape;134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5" name="Google Shape;135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136" name="Google Shape;136;p10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10"/>
          <p:cNvSpPr txBox="1">
            <a:spLocks noGrp="1"/>
          </p:cNvSpPr>
          <p:nvPr>
            <p:ph type="body" idx="6"/>
          </p:nvPr>
        </p:nvSpPr>
        <p:spPr>
          <a:xfrm>
            <a:off x="2073593" y="4745389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10"/>
          <p:cNvSpPr txBox="1">
            <a:spLocks noGrp="1"/>
          </p:cNvSpPr>
          <p:nvPr>
            <p:ph type="body" idx="7"/>
          </p:nvPr>
        </p:nvSpPr>
        <p:spPr>
          <a:xfrm>
            <a:off x="2077261" y="1665568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10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4F81BD"/>
                </a:solidFill>
              </a:defRPr>
            </a:lvl1pPr>
            <a:lvl2pPr lvl="1">
              <a:buNone/>
              <a:defRPr>
                <a:solidFill>
                  <a:srgbClr val="4F81BD"/>
                </a:solidFill>
              </a:defRPr>
            </a:lvl2pPr>
            <a:lvl3pPr lvl="2">
              <a:buNone/>
              <a:defRPr>
                <a:solidFill>
                  <a:srgbClr val="4F81BD"/>
                </a:solidFill>
              </a:defRPr>
            </a:lvl3pPr>
            <a:lvl4pPr lvl="3">
              <a:buNone/>
              <a:defRPr>
                <a:solidFill>
                  <a:srgbClr val="4F81BD"/>
                </a:solidFill>
              </a:defRPr>
            </a:lvl4pPr>
            <a:lvl5pPr lvl="4">
              <a:buNone/>
              <a:defRPr>
                <a:solidFill>
                  <a:srgbClr val="4F81BD"/>
                </a:solidFill>
              </a:defRPr>
            </a:lvl5pPr>
            <a:lvl6pPr lvl="5">
              <a:buNone/>
              <a:defRPr>
                <a:solidFill>
                  <a:srgbClr val="4F81BD"/>
                </a:solidFill>
              </a:defRPr>
            </a:lvl6pPr>
            <a:lvl7pPr lvl="6">
              <a:buNone/>
              <a:defRPr>
                <a:solidFill>
                  <a:srgbClr val="4F81BD"/>
                </a:solidFill>
              </a:defRPr>
            </a:lvl7pPr>
            <a:lvl8pPr lvl="7">
              <a:buNone/>
              <a:defRPr>
                <a:solidFill>
                  <a:srgbClr val="4F81BD"/>
                </a:solidFill>
              </a:defRPr>
            </a:lvl8pPr>
            <a:lvl9pPr lvl="8">
              <a:buNone/>
              <a:defRPr>
                <a:solidFill>
                  <a:srgbClr val="4F81BD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1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0058400" y="465180"/>
            <a:ext cx="1512263" cy="37302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999845" y="1449704"/>
            <a:ext cx="101923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grpSp>
        <p:nvGrpSpPr>
          <p:cNvPr id="14" name="Google Shape;14;p1"/>
          <p:cNvGrpSpPr/>
          <p:nvPr/>
        </p:nvGrpSpPr>
        <p:grpSpPr>
          <a:xfrm>
            <a:off x="286603" y="914400"/>
            <a:ext cx="11278479" cy="95534"/>
            <a:chOff x="654627" y="1143000"/>
            <a:chExt cx="10910455" cy="0"/>
          </a:xfrm>
        </p:grpSpPr>
        <p:cxnSp>
          <p:nvCxnSpPr>
            <p:cNvPr id="15" name="Google Shape;15;p1"/>
            <p:cNvCxnSpPr/>
            <p:nvPr/>
          </p:nvCxnSpPr>
          <p:spPr>
            <a:xfrm>
              <a:off x="654627" y="1143000"/>
              <a:ext cx="48837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16;p1"/>
            <p:cNvCxnSpPr/>
            <p:nvPr/>
          </p:nvCxnSpPr>
          <p:spPr>
            <a:xfrm>
              <a:off x="4842164" y="1143000"/>
              <a:ext cx="35121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17;p1"/>
            <p:cNvCxnSpPr/>
            <p:nvPr/>
          </p:nvCxnSpPr>
          <p:spPr>
            <a:xfrm>
              <a:off x="7990609" y="1143000"/>
              <a:ext cx="3574473" cy="0"/>
            </a:xfrm>
            <a:prstGeom prst="straightConnector1">
              <a:avLst/>
            </a:prstGeom>
            <a:noFill/>
            <a:ln w="1270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8" name="Google Shape;18;p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300">
                <a:solidFill>
                  <a:schemeClr val="dk1"/>
                </a:solidFill>
              </a:defRPr>
            </a:lvl1pPr>
            <a:lvl2pPr lvl="1" algn="r">
              <a:buNone/>
              <a:defRPr sz="1300">
                <a:solidFill>
                  <a:schemeClr val="dk1"/>
                </a:solidFill>
              </a:defRPr>
            </a:lvl2pPr>
            <a:lvl3pPr lvl="2" algn="r">
              <a:buNone/>
              <a:defRPr sz="1300">
                <a:solidFill>
                  <a:schemeClr val="dk1"/>
                </a:solidFill>
              </a:defRPr>
            </a:lvl3pPr>
            <a:lvl4pPr lvl="3" algn="r">
              <a:buNone/>
              <a:defRPr sz="1300">
                <a:solidFill>
                  <a:schemeClr val="dk1"/>
                </a:solidFill>
              </a:defRPr>
            </a:lvl4pPr>
            <a:lvl5pPr lvl="4" algn="r">
              <a:buNone/>
              <a:defRPr sz="1300">
                <a:solidFill>
                  <a:schemeClr val="dk1"/>
                </a:solidFill>
              </a:defRPr>
            </a:lvl5pPr>
            <a:lvl6pPr lvl="5" algn="r">
              <a:buNone/>
              <a:defRPr sz="1300">
                <a:solidFill>
                  <a:schemeClr val="dk1"/>
                </a:solidFill>
              </a:defRPr>
            </a:lvl6pPr>
            <a:lvl7pPr lvl="6" algn="r">
              <a:buNone/>
              <a:defRPr sz="1300">
                <a:solidFill>
                  <a:schemeClr val="dk1"/>
                </a:solidFill>
              </a:defRPr>
            </a:lvl7pPr>
            <a:lvl8pPr lvl="7" algn="r">
              <a:buNone/>
              <a:defRPr sz="1300">
                <a:solidFill>
                  <a:schemeClr val="dk1"/>
                </a:solidFill>
              </a:defRPr>
            </a:lvl8pPr>
            <a:lvl9pPr lvl="8" algn="r">
              <a:buNone/>
              <a:defRPr sz="13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p15"/>
          <p:cNvSpPr txBox="1"/>
          <p:nvPr/>
        </p:nvSpPr>
        <p:spPr>
          <a:xfrm>
            <a:off x="11483975" y="455197"/>
            <a:ext cx="88900" cy="183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0" i="0" u="none" strike="noStrike" cap="none">
                <a:solidFill>
                  <a:srgbClr val="F8F7FF"/>
                </a:solidFill>
                <a:latin typeface="Verdana"/>
                <a:ea typeface="Verdana"/>
                <a:cs typeface="Verdana"/>
                <a:sym typeface="Verdana"/>
              </a:rPr>
              <a:t>1</a:t>
            </a:r>
            <a:endParaRPr sz="12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9" name="Google Shape;189;p15"/>
          <p:cNvSpPr/>
          <p:nvPr/>
        </p:nvSpPr>
        <p:spPr>
          <a:xfrm>
            <a:off x="11356847" y="374904"/>
            <a:ext cx="344805" cy="344805"/>
          </a:xfrm>
          <a:custGeom>
            <a:avLst/>
            <a:gdLst/>
            <a:ahLst/>
            <a:cxnLst/>
            <a:rect l="l" t="t" r="r" b="b"/>
            <a:pathLst>
              <a:path w="344804" h="344805" extrusionOk="0">
                <a:moveTo>
                  <a:pt x="0" y="172212"/>
                </a:moveTo>
                <a:lnTo>
                  <a:pt x="6150" y="126426"/>
                </a:lnTo>
                <a:lnTo>
                  <a:pt x="23509" y="85287"/>
                </a:lnTo>
                <a:lnTo>
                  <a:pt x="50434" y="50434"/>
                </a:lnTo>
                <a:lnTo>
                  <a:pt x="85287" y="23509"/>
                </a:lnTo>
                <a:lnTo>
                  <a:pt x="126426" y="6150"/>
                </a:lnTo>
                <a:lnTo>
                  <a:pt x="172211" y="0"/>
                </a:lnTo>
                <a:lnTo>
                  <a:pt x="217997" y="6150"/>
                </a:lnTo>
                <a:lnTo>
                  <a:pt x="259136" y="23509"/>
                </a:lnTo>
                <a:lnTo>
                  <a:pt x="293989" y="50434"/>
                </a:lnTo>
                <a:lnTo>
                  <a:pt x="320914" y="85287"/>
                </a:lnTo>
                <a:lnTo>
                  <a:pt x="338273" y="126426"/>
                </a:lnTo>
                <a:lnTo>
                  <a:pt x="344424" y="172212"/>
                </a:lnTo>
                <a:lnTo>
                  <a:pt x="338273" y="217997"/>
                </a:lnTo>
                <a:lnTo>
                  <a:pt x="320914" y="259136"/>
                </a:lnTo>
                <a:lnTo>
                  <a:pt x="293989" y="293989"/>
                </a:lnTo>
                <a:lnTo>
                  <a:pt x="259136" y="320914"/>
                </a:lnTo>
                <a:lnTo>
                  <a:pt x="217997" y="338273"/>
                </a:lnTo>
                <a:lnTo>
                  <a:pt x="172211" y="344424"/>
                </a:lnTo>
                <a:lnTo>
                  <a:pt x="126426" y="338273"/>
                </a:lnTo>
                <a:lnTo>
                  <a:pt x="85287" y="320914"/>
                </a:lnTo>
                <a:lnTo>
                  <a:pt x="50434" y="293989"/>
                </a:lnTo>
                <a:lnTo>
                  <a:pt x="23509" y="259136"/>
                </a:lnTo>
                <a:lnTo>
                  <a:pt x="6150" y="217997"/>
                </a:lnTo>
                <a:lnTo>
                  <a:pt x="0" y="172212"/>
                </a:lnTo>
                <a:close/>
              </a:path>
            </a:pathLst>
          </a:custGeom>
          <a:noFill/>
          <a:ln w="12175" cap="flat" cmpd="sng">
            <a:solidFill>
              <a:srgbClr val="F8F7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90" name="Google Shape;190;p15"/>
          <p:cNvSpPr txBox="1"/>
          <p:nvPr/>
        </p:nvSpPr>
        <p:spPr>
          <a:xfrm>
            <a:off x="336850" y="4804602"/>
            <a:ext cx="5870349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GB" sz="2400" b="1" i="0" u="none" strike="noStrike" cap="none" dirty="0">
                <a:solidFill>
                  <a:schemeClr val="tx1"/>
                </a:solidFill>
              </a:rPr>
              <a:t>Presented by:</a:t>
            </a:r>
            <a:br>
              <a:rPr lang="en-GB" sz="2400" b="1" i="0" u="none" strike="noStrike" cap="none" dirty="0">
                <a:solidFill>
                  <a:schemeClr val="tx1"/>
                </a:solidFill>
              </a:rPr>
            </a:br>
            <a:r>
              <a:rPr lang="en-GB" sz="2400" b="1" dirty="0">
                <a:solidFill>
                  <a:schemeClr val="tx1"/>
                </a:solidFill>
              </a:rPr>
              <a:t>Data Team</a:t>
            </a:r>
            <a:endParaRPr sz="2400" b="1" i="0" u="none" strike="noStrike" cap="none" dirty="0">
              <a:solidFill>
                <a:schemeClr val="tx1"/>
              </a:solidFill>
            </a:endParaRPr>
          </a:p>
        </p:txBody>
      </p:sp>
      <p:pic>
        <p:nvPicPr>
          <p:cNvPr id="191" name="Google Shape;191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44779" y="859468"/>
            <a:ext cx="5178033" cy="5613395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15"/>
          <p:cNvSpPr/>
          <p:nvPr/>
        </p:nvSpPr>
        <p:spPr>
          <a:xfrm>
            <a:off x="0" y="5785339"/>
            <a:ext cx="541585" cy="1072661"/>
          </a:xfrm>
          <a:custGeom>
            <a:avLst/>
            <a:gdLst/>
            <a:ahLst/>
            <a:cxnLst/>
            <a:rect l="l" t="t" r="r" b="b"/>
            <a:pathLst>
              <a:path w="662" h="1311" extrusionOk="0">
                <a:moveTo>
                  <a:pt x="0" y="0"/>
                </a:moveTo>
                <a:cubicBezTo>
                  <a:pt x="0" y="1311"/>
                  <a:pt x="0" y="1311"/>
                  <a:pt x="0" y="1311"/>
                </a:cubicBezTo>
                <a:cubicBezTo>
                  <a:pt x="366" y="1311"/>
                  <a:pt x="662" y="1017"/>
                  <a:pt x="662" y="655"/>
                </a:cubicBezTo>
                <a:cubicBezTo>
                  <a:pt x="662" y="293"/>
                  <a:pt x="366" y="0"/>
                  <a:pt x="0" y="0"/>
                </a:cubicBezTo>
                <a:close/>
              </a:path>
            </a:pathLst>
          </a:custGeom>
          <a:solidFill>
            <a:srgbClr val="F5BC18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" name="Google Shape;193;p15"/>
          <p:cNvSpPr/>
          <p:nvPr/>
        </p:nvSpPr>
        <p:spPr>
          <a:xfrm>
            <a:off x="10881911" y="-152400"/>
            <a:ext cx="1310089" cy="648901"/>
          </a:xfrm>
          <a:custGeom>
            <a:avLst/>
            <a:gdLst/>
            <a:ahLst/>
            <a:cxnLst/>
            <a:rect l="l" t="t" r="r" b="b"/>
            <a:pathLst>
              <a:path w="1245" h="616" extrusionOk="0">
                <a:moveTo>
                  <a:pt x="622" y="616"/>
                </a:moveTo>
                <a:cubicBezTo>
                  <a:pt x="966" y="616"/>
                  <a:pt x="1245" y="340"/>
                  <a:pt x="124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40"/>
                  <a:pt x="279" y="616"/>
                  <a:pt x="622" y="616"/>
                </a:cubicBezTo>
                <a:close/>
              </a:path>
            </a:pathLst>
          </a:custGeom>
          <a:solidFill>
            <a:srgbClr val="F05583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" name="Google Shape;194;p15"/>
          <p:cNvPicPr preferRelativeResize="0"/>
          <p:nvPr/>
        </p:nvPicPr>
        <p:blipFill rotWithShape="1">
          <a:blip r:embed="rId4">
            <a:alphaModFix/>
          </a:blip>
          <a:srcRect t="29806" b="28737"/>
          <a:stretch/>
        </p:blipFill>
        <p:spPr>
          <a:xfrm>
            <a:off x="541585" y="1335286"/>
            <a:ext cx="2325025" cy="648900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Google Shape;195;p15"/>
          <p:cNvSpPr txBox="1"/>
          <p:nvPr/>
        </p:nvSpPr>
        <p:spPr>
          <a:xfrm>
            <a:off x="336850" y="2502850"/>
            <a:ext cx="5865900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b="1" dirty="0"/>
              <a:t>Data Analysis Training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0AEF8-A400-439B-8A38-6F50DDA7C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345" y="303284"/>
            <a:ext cx="6425429" cy="458587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What you will learn in this train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1FBB84-B315-4668-A718-CD0DB8CFB2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43"/>
          <a:stretch/>
        </p:blipFill>
        <p:spPr>
          <a:xfrm>
            <a:off x="372023" y="899651"/>
            <a:ext cx="9833861" cy="6006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205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0AEF8-A400-439B-8A38-6F50DDA7C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345" y="303284"/>
            <a:ext cx="6425429" cy="458587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What you will learn in this train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2422D8-1773-45DA-AC24-4F42C88535C0}"/>
              </a:ext>
            </a:extLst>
          </p:cNvPr>
          <p:cNvSpPr txBox="1"/>
          <p:nvPr/>
        </p:nvSpPr>
        <p:spPr>
          <a:xfrm>
            <a:off x="206428" y="1554911"/>
            <a:ext cx="5279972" cy="42791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GB" sz="3200" dirty="0">
                <a:latin typeface="+mj-lt"/>
              </a:rPr>
              <a:t>Excel data organization and cell formatting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endParaRPr lang="en-GB" sz="3200" dirty="0">
              <a:latin typeface="+mj-lt"/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GB" sz="3200" dirty="0">
                <a:latin typeface="+mj-lt"/>
              </a:rPr>
              <a:t>String Manipulation in Excel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endParaRPr lang="en-GB" sz="3200" dirty="0">
              <a:latin typeface="+mj-lt"/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GB" sz="3200" dirty="0">
                <a:latin typeface="+mj-lt"/>
              </a:rPr>
              <a:t>Excel Text to Column Tricks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br>
              <a:rPr lang="en-GB" sz="3200" dirty="0">
                <a:latin typeface="+mj-lt"/>
              </a:rPr>
            </a:br>
            <a:r>
              <a:rPr lang="en-GB" sz="3200" dirty="0">
                <a:latin typeface="+mj-lt"/>
              </a:rPr>
              <a:t>Working with big 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A21EF6-B9C8-46E1-A61C-E35CC86EC41C}"/>
              </a:ext>
            </a:extLst>
          </p:cNvPr>
          <p:cNvSpPr txBox="1"/>
          <p:nvPr/>
        </p:nvSpPr>
        <p:spPr>
          <a:xfrm>
            <a:off x="5887114" y="1554911"/>
            <a:ext cx="6098458" cy="4722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GB" sz="3200" dirty="0">
                <a:latin typeface="+mj-lt"/>
              </a:rPr>
              <a:t>Advanced Formula Knowledge &amp; VLOOKUP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br>
              <a:rPr lang="en-GB" sz="3200" dirty="0">
                <a:latin typeface="+mj-lt"/>
              </a:rPr>
            </a:br>
            <a:r>
              <a:rPr lang="en-GB" sz="3200" dirty="0">
                <a:latin typeface="+mj-lt"/>
              </a:rPr>
              <a:t>Power Query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endParaRPr lang="en-GB" sz="3200" dirty="0">
              <a:latin typeface="+mj-lt"/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GB" sz="3200" dirty="0">
                <a:latin typeface="+mj-lt"/>
              </a:rPr>
              <a:t>Pivot table and Pivot chart for data building dashboard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endParaRPr lang="en-GB" sz="3200" dirty="0">
              <a:latin typeface="+mj-lt"/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GB" sz="3200" dirty="0">
                <a:latin typeface="+mj-lt"/>
              </a:rPr>
              <a:t>Data Analysis </a:t>
            </a:r>
            <a:r>
              <a:rPr lang="en-GB" sz="3200" dirty="0" err="1">
                <a:latin typeface="+mj-lt"/>
              </a:rPr>
              <a:t>Toolpak</a:t>
            </a:r>
            <a:endParaRPr lang="en-GB" sz="3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9733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487" y="391161"/>
            <a:ext cx="10470584" cy="513987"/>
          </a:xfrm>
        </p:spPr>
        <p:txBody>
          <a:bodyPr/>
          <a:lstStyle/>
          <a:p>
            <a:r>
              <a:rPr lang="en-GB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Lab session</a:t>
            </a:r>
          </a:p>
        </p:txBody>
      </p:sp>
      <p:pic>
        <p:nvPicPr>
          <p:cNvPr id="1026" name="Picture 2" descr="Robert Litt ePortfolio">
            <a:extLst>
              <a:ext uri="{FF2B5EF4-FFF2-40B4-BE49-F238E27FC236}">
                <a16:creationId xmlns:a16="http://schemas.microsoft.com/office/drawing/2014/main" id="{F7CC30CD-41E1-4FA9-8F99-81F24B731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107" y="1270009"/>
            <a:ext cx="6779863" cy="5084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39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3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5</a:t>
            </a:fld>
            <a:endParaRPr/>
          </a:p>
        </p:txBody>
      </p:sp>
      <p:pic>
        <p:nvPicPr>
          <p:cNvPr id="404" name="Google Shape;404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5562"/>
            <a:ext cx="12191999" cy="6852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05" name="Google Shape;405;p3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488" y="97801"/>
            <a:ext cx="2627420" cy="635666"/>
          </a:xfrm>
          <a:prstGeom prst="rect">
            <a:avLst/>
          </a:prstGeom>
          <a:noFill/>
          <a:ln>
            <a:noFill/>
          </a:ln>
        </p:spPr>
      </p:pic>
      <p:sp>
        <p:nvSpPr>
          <p:cNvPr id="406" name="Google Shape;406;p38"/>
          <p:cNvSpPr txBox="1"/>
          <p:nvPr/>
        </p:nvSpPr>
        <p:spPr>
          <a:xfrm>
            <a:off x="1452350" y="3592250"/>
            <a:ext cx="2523600" cy="6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>
                <a:solidFill>
                  <a:schemeClr val="lt1"/>
                </a:solidFill>
              </a:rPr>
              <a:t>Thank You </a:t>
            </a:r>
            <a:endParaRPr sz="320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</TotalTime>
  <Words>70</Words>
  <Application>Microsoft Office PowerPoint</Application>
  <PresentationFormat>Widescreen</PresentationFormat>
  <Paragraphs>21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Open Sans</vt:lpstr>
      <vt:lpstr>Verdana</vt:lpstr>
      <vt:lpstr>Arial</vt:lpstr>
      <vt:lpstr>Calibri</vt:lpstr>
      <vt:lpstr>Roboto Condensed</vt:lpstr>
      <vt:lpstr>Office Theme</vt:lpstr>
      <vt:lpstr>think-cell Slide</vt:lpstr>
      <vt:lpstr>PowerPoint Presentation</vt:lpstr>
      <vt:lpstr>What you will learn in this training</vt:lpstr>
      <vt:lpstr>What you will learn in this training</vt:lpstr>
      <vt:lpstr>Lab ses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zekiel Ogundepo</dc:creator>
  <cp:lastModifiedBy>Ezekiel Ogundepo</cp:lastModifiedBy>
  <cp:revision>16</cp:revision>
  <dcterms:modified xsi:type="dcterms:W3CDTF">2022-04-06T11:46:28Z</dcterms:modified>
</cp:coreProperties>
</file>